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71" r:id="rId2"/>
    <p:sldId id="256" r:id="rId3"/>
    <p:sldId id="257" r:id="rId4"/>
    <p:sldId id="26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8" r:id="rId15"/>
    <p:sldId id="269" r:id="rId16"/>
    <p:sldId id="270" r:id="rId17"/>
  </p:sldIdLst>
  <p:sldSz cx="12192000" cy="6858000"/>
  <p:notesSz cx="6858000" cy="9144000"/>
  <p:custDataLst>
    <p:tags r:id="rId18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96"/>
    <p:restoredTop sz="95721"/>
  </p:normalViewPr>
  <p:slideViewPr>
    <p:cSldViewPr snapToGrid="0">
      <p:cViewPr varScale="1">
        <p:scale>
          <a:sx n="88" d="100"/>
          <a:sy n="88" d="100"/>
        </p:scale>
        <p:origin x="59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E9D773D-17C3-C666-B07C-DA13ABCAE7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86CACB76-43B9-C2EC-9434-8791275D94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856138CE-CFCC-119F-7003-49BE986C93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240F247-4727-50E6-7FA7-5C14D0AC3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E16EB7F-1AA4-E46A-7AA2-C833086E1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90721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F5CC125-2A01-C854-D083-C558874190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0B6067DE-AAFD-81D7-9CA2-3E2B3E781B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8E3FF9C-EAB7-5940-3B73-7A9191D80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638E293-8E10-6B01-40D7-903F2D4849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FC98A0B-22D6-18BD-0DFE-C78F8FB21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31724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A18DC62D-6807-CA46-A803-BEF410FD51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BD208545-0C87-3F8C-C1B6-5D4C9F5C1C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ECB9FC0-9068-7F69-E369-F398BE7B1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0AB6CC5-B780-49CA-D623-9E0926A6B0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3A7F552-D8E9-177D-153B-BE537D67D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9308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A420F6F-0A05-FC7D-77B3-A5C4B5BC4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02BC67B-5E46-DB5A-F9E6-C490C02D25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0600E26-B4DF-E349-9931-65486D2540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57D76F3-BE96-ED1E-A82A-555765DB1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9BE6AED-211A-3628-84B3-ECA19B9A4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8266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E13372A-3266-7C1F-D3B8-4F2C2FD0C6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C81E50C3-C978-C3AD-401A-25A210AFBC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C2571BA-7F6B-C5BB-FA62-797546C014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207E62E-3361-F928-028E-549C0B6864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0FCD7D6-202E-EBC4-1DB9-9B163C024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43882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81A74C6-02DD-A40C-79D5-3A7233C345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5435E7B-FE49-C9DD-EE7E-4C8147C534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02A2B4-7D3D-4C52-641D-B7ADBDE57F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2D2F5AA-4E0F-BF3A-DC4D-F4B6ACAC0A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0AEE20D6-C4C4-1406-6D67-B5FBD08F0D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BFEA8DC8-A92E-F037-8A3B-A187DE9B0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55930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CC55E68-9E8F-207A-74EF-B39D1A789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15016C8-2806-9B9A-4F36-0A4DF706E1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DFCD2CA-1D7E-8513-7F59-4D4321A776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CD5857C3-2308-6871-020B-70956EC1B3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4FE53B0-4D63-553D-EE17-2A1DDFB434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2C5F4C1-989F-BE42-B00E-3617540F3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0519341B-EA9E-A55B-6FEB-F5E4458A9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F3AA302-EE03-A23D-F3EB-10EA44500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0463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D80B8D3-08BA-348E-FCF9-F919DC78E1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BB025AB5-C954-EC48-8F51-F1FA8C30D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92D0081C-5B3B-A592-024A-A6289E92E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47230323-83E0-9A8A-9C99-E2781301A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19812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77F8E9FB-803E-0E57-74F8-A4735236FA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75013569-ADD4-23A6-0064-C94FD7EAC4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D95CBB1-8930-0FAC-01DC-028A80CD1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2911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9569977-7111-EFEA-52AC-AB8D0EAB8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02ED9AB-5787-DE2F-9C2B-156E89854F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8DFFF0CA-12F4-0BBA-E31C-9007CA3664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3226AA3-3123-FCDB-27C2-C9985BEEB0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F4F565E5-C680-64D7-24E8-35C523FB49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B35AB62-AB0B-E210-6D58-785E5DCFC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91046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D3E351E-939C-A382-1746-2BA6E8BF9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97CAC3D1-177F-DB09-A44D-4F33C0EFAF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E789DE8-EC80-CDD5-6CA6-AC9B248DE0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1FC61FAC-E3D0-FC9A-9584-A15618216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25FF3475-2B59-DE32-A356-4A09ED103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8BB0F093-540B-68CB-EF3F-0D320D6F4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15121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5D155438-00CE-3EB8-E3AB-F7D08213F3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79293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think-cell" r:id="rId15" imgW="7772400" imgH="10058400" progId="TCLayout.ActiveDocument.1">
                  <p:embed/>
                </p:oleObj>
              </mc:Choice>
              <mc:Fallback>
                <p:oleObj name="Diapositiva think-cell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8E770B32-8218-2DF3-1563-12AC9CB4A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ADCADC4-F576-5DFD-3952-467073FE7F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895B6251-0F2A-052F-BEF9-CE020C1B74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7B9A95-FFBC-D849-87DD-D1C3F2DB0374}" type="datetimeFigureOut">
              <a:rPr lang="it-IT" smtClean="0"/>
              <a:t>23/06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90720B7-04D5-1CB1-51C9-7C07C62B7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E3F324B-91AF-EBFA-EC38-6C905C55FA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236131-8F5E-9349-A67E-CE2AE40CCF25}" type="slidenum">
              <a:rPr lang="it-IT" smtClean="0"/>
              <a:t>‹N›</a:t>
            </a:fld>
            <a:endParaRPr lang="it-IT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C7D7DED-34E4-7A94-413A-7BE8AA31C7B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xmlns="" val="hdr"/>
              </p:ext>
            </p:extLst>
          </p:nvPr>
        </p:nvSpPr>
        <p:spPr>
          <a:xfrm>
            <a:off x="5844350" y="63500"/>
            <a:ext cx="5318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it-IT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632868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0F2B12AE-C0E2-9D22-C236-C9D3D7DB63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01535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a think-cell" r:id="rId4" imgW="7772400" imgH="10058400" progId="TCLayout.ActiveDocument.1">
                  <p:embed/>
                </p:oleObj>
              </mc:Choice>
              <mc:Fallback>
                <p:oleObj name="Diapositiva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68AF5748-FED8-45BA-8631-26D1D10F324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AC286AF8-2C19-4A39-2312-3F3C3DD8EA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981" y="1122363"/>
            <a:ext cx="4023360" cy="3204134"/>
          </a:xfrm>
        </p:spPr>
        <p:txBody>
          <a:bodyPr vert="horz" anchor="b">
            <a:normAutofit/>
          </a:bodyPr>
          <a:lstStyle/>
          <a:p>
            <a:pPr algn="l"/>
            <a:r>
              <a:rPr lang="it-IT" sz="9600" dirty="0"/>
              <a:t>IIIB </a:t>
            </a:r>
            <a:r>
              <a:rPr lang="it-IT" sz="4800" dirty="0"/>
              <a:t/>
            </a:r>
            <a:br>
              <a:rPr lang="it-IT" sz="4800" dirty="0"/>
            </a:br>
            <a:r>
              <a:rPr lang="it-IT" sz="4800" dirty="0"/>
              <a:t>IC Settembrini 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B765C313-86EC-9C62-2B18-0EDF1D293F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7981" y="4872922"/>
            <a:ext cx="3933306" cy="1208141"/>
          </a:xfrm>
        </p:spPr>
        <p:txBody>
          <a:bodyPr>
            <a:normAutofit/>
          </a:bodyPr>
          <a:lstStyle/>
          <a:p>
            <a:pPr algn="l"/>
            <a:r>
              <a:rPr lang="it-IT" dirty="0"/>
              <a:t>Il viaggio della 3a B attraverso arte, storia e poesi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402336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Immagine 4" descr="Immagine che contiene testo, calligrafia, lettera, Arte bambini&#10;&#10;Descrizione generata automaticamente">
            <a:extLst>
              <a:ext uri="{FF2B5EF4-FFF2-40B4-BE49-F238E27FC236}">
                <a16:creationId xmlns:a16="http://schemas.microsoft.com/office/drawing/2014/main" id="{E4402E22-A06E-0816-0DCA-D587C71CFC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4608" y="794545"/>
            <a:ext cx="6846363" cy="511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0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A1ED7F7-ACF8-0E77-D8F3-4F915CBDD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Segnaposto contenuto 4" descr="Immagine che contiene testo, cielo, lettera, calligrafia&#10;&#10;Descrizione generata automaticamente">
            <a:extLst>
              <a:ext uri="{FF2B5EF4-FFF2-40B4-BE49-F238E27FC236}">
                <a16:creationId xmlns:a16="http://schemas.microsoft.com/office/drawing/2014/main" id="{E284A645-BFEB-70A1-72BA-DC79810AFF6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653" r="2437" b="3065"/>
          <a:stretch/>
        </p:blipFill>
        <p:spPr>
          <a:xfrm>
            <a:off x="1528763" y="111125"/>
            <a:ext cx="9047810" cy="6546850"/>
          </a:xfrm>
        </p:spPr>
      </p:pic>
    </p:spTree>
    <p:extLst>
      <p:ext uri="{BB962C8B-B14F-4D97-AF65-F5344CB8AC3E}">
        <p14:creationId xmlns:p14="http://schemas.microsoft.com/office/powerpoint/2010/main" val="1005429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4FB4033-0260-7D6D-7CE8-562F509D1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Segnaposto contenuto 4" descr="Immagine che contiene testo, calligrafia, disegno, schizzo&#10;&#10;Descrizione generata automaticamente">
            <a:extLst>
              <a:ext uri="{FF2B5EF4-FFF2-40B4-BE49-F238E27FC236}">
                <a16:creationId xmlns:a16="http://schemas.microsoft.com/office/drawing/2014/main" id="{62A524D1-0D71-A9DB-DD88-A37C03F90C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738" t="12878" r="6928" b="9960"/>
          <a:stretch/>
        </p:blipFill>
        <p:spPr>
          <a:xfrm>
            <a:off x="1657349" y="365125"/>
            <a:ext cx="9571838" cy="6300787"/>
          </a:xfrm>
        </p:spPr>
      </p:pic>
    </p:spTree>
    <p:extLst>
      <p:ext uri="{BB962C8B-B14F-4D97-AF65-F5344CB8AC3E}">
        <p14:creationId xmlns:p14="http://schemas.microsoft.com/office/powerpoint/2010/main" val="224494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E76DC11-C1A5-7F07-71A8-43404BCAE0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Segnaposto contenuto 4" descr="Immagine che contiene testo, lettera, calligrafia, carta&#10;&#10;Descrizione generata automaticamente">
            <a:extLst>
              <a:ext uri="{FF2B5EF4-FFF2-40B4-BE49-F238E27FC236}">
                <a16:creationId xmlns:a16="http://schemas.microsoft.com/office/drawing/2014/main" id="{F2A443ED-54FF-3321-66A7-A0EDC1D557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836" t="2043" r="3091" b="3065"/>
          <a:stretch/>
        </p:blipFill>
        <p:spPr>
          <a:xfrm>
            <a:off x="1482275" y="257175"/>
            <a:ext cx="9227450" cy="6600825"/>
          </a:xfrm>
        </p:spPr>
      </p:pic>
    </p:spTree>
    <p:extLst>
      <p:ext uri="{BB962C8B-B14F-4D97-AF65-F5344CB8AC3E}">
        <p14:creationId xmlns:p14="http://schemas.microsoft.com/office/powerpoint/2010/main" val="56345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533649D-6937-5DA8-F921-2B4CE48907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Segnaposto contenuto 4" descr="Immagine che contiene testo, calligrafia, carta, Prodotto di carta&#10;&#10;Descrizione generata automaticamente">
            <a:extLst>
              <a:ext uri="{FF2B5EF4-FFF2-40B4-BE49-F238E27FC236}">
                <a16:creationId xmlns:a16="http://schemas.microsoft.com/office/drawing/2014/main" id="{F438D09E-67B5-A3BD-B6DF-DE1AD735DA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018" t="10580" r="7383" b="17184"/>
          <a:stretch/>
        </p:blipFill>
        <p:spPr>
          <a:xfrm>
            <a:off x="611678" y="365125"/>
            <a:ext cx="10968643" cy="6400800"/>
          </a:xfrm>
        </p:spPr>
      </p:pic>
    </p:spTree>
    <p:extLst>
      <p:ext uri="{BB962C8B-B14F-4D97-AF65-F5344CB8AC3E}">
        <p14:creationId xmlns:p14="http://schemas.microsoft.com/office/powerpoint/2010/main" val="2102123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56529DA-BCDA-F07F-1C87-722484E7B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7" name="Segnaposto contenuto 6" descr="Immagine che contiene testo, disegno, lettera, calligrafia&#10;&#10;Descrizione generata automaticamente">
            <a:extLst>
              <a:ext uri="{FF2B5EF4-FFF2-40B4-BE49-F238E27FC236}">
                <a16:creationId xmlns:a16="http://schemas.microsoft.com/office/drawing/2014/main" id="{5DA66AA6-91EB-ECBD-1770-9D63455C18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4013" r="1498" b="12259"/>
          <a:stretch/>
        </p:blipFill>
        <p:spPr>
          <a:xfrm>
            <a:off x="622090" y="128587"/>
            <a:ext cx="10947820" cy="6600825"/>
          </a:xfrm>
        </p:spPr>
      </p:pic>
    </p:spTree>
    <p:extLst>
      <p:ext uri="{BB962C8B-B14F-4D97-AF65-F5344CB8AC3E}">
        <p14:creationId xmlns:p14="http://schemas.microsoft.com/office/powerpoint/2010/main" val="426753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34BCEAB-3D0D-1B0D-4CF3-3C33BFFE1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7" name="Segnaposto contenuto 6" descr="Immagine che contiene testo, disegno&#10;&#10;Descrizione generata automaticamente">
            <a:extLst>
              <a:ext uri="{FF2B5EF4-FFF2-40B4-BE49-F238E27FC236}">
                <a16:creationId xmlns:a16="http://schemas.microsoft.com/office/drawing/2014/main" id="{B82ED7C8-9241-DADC-8A74-4EA1CEF65A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4351" b="2408"/>
          <a:stretch/>
        </p:blipFill>
        <p:spPr>
          <a:xfrm>
            <a:off x="1442709" y="66989"/>
            <a:ext cx="9306582" cy="6724021"/>
          </a:xfrm>
        </p:spPr>
      </p:pic>
    </p:spTree>
    <p:extLst>
      <p:ext uri="{BB962C8B-B14F-4D97-AF65-F5344CB8AC3E}">
        <p14:creationId xmlns:p14="http://schemas.microsoft.com/office/powerpoint/2010/main" val="2787773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E6F6AF9-4FF8-FCB2-F8B6-34239D5AE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7" name="Segnaposto contenuto 6" descr="Immagine che contiene testo, lettera, carta, calligrafia&#10;&#10;Descrizione generata automaticamente">
            <a:extLst>
              <a:ext uri="{FF2B5EF4-FFF2-40B4-BE49-F238E27FC236}">
                <a16:creationId xmlns:a16="http://schemas.microsoft.com/office/drawing/2014/main" id="{76A23C1F-9AC5-DE91-4044-8D6685875E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9457" t="10908" r="13996" b="16526"/>
          <a:stretch/>
        </p:blipFill>
        <p:spPr>
          <a:xfrm>
            <a:off x="1238055" y="271463"/>
            <a:ext cx="9715889" cy="6586537"/>
          </a:xfrm>
        </p:spPr>
      </p:pic>
    </p:spTree>
    <p:extLst>
      <p:ext uri="{BB962C8B-B14F-4D97-AF65-F5344CB8AC3E}">
        <p14:creationId xmlns:p14="http://schemas.microsoft.com/office/powerpoint/2010/main" val="986444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67548769-4751-FF05-F9A8-8944E2587E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6408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a think-cell" r:id="rId4" imgW="7772400" imgH="10058400" progId="TCLayout.ActiveDocument.1">
                  <p:embed/>
                </p:oleObj>
              </mc:Choice>
              <mc:Fallback>
                <p:oleObj name="Diapositiva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7E1E6595-84E2-AEAD-E61B-C117A70572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4572000" cy="2387600"/>
          </a:xfrm>
        </p:spPr>
        <p:txBody>
          <a:bodyPr vert="horz"/>
          <a:lstStyle/>
          <a:p>
            <a:pPr algn="l"/>
            <a:r>
              <a:rPr lang="it-IT" b="1" dirty="0"/>
              <a:t>1. La Casina delle Civette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5C176471-BD0A-F42C-3DD9-CFD98AF813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4572000" cy="1655762"/>
          </a:xfrm>
        </p:spPr>
        <p:txBody>
          <a:bodyPr/>
          <a:lstStyle/>
          <a:p>
            <a:pPr algn="l"/>
            <a:r>
              <a:rPr lang="it-IT" dirty="0"/>
              <a:t>Visita a Villa Torlonia</a:t>
            </a:r>
          </a:p>
        </p:txBody>
      </p:sp>
      <p:pic>
        <p:nvPicPr>
          <p:cNvPr id="9" name="Immagine 8" descr="Immagine che contiene arte, dipinto, disegno, schizzo&#10;&#10;Descrizione generata automaticamente">
            <a:extLst>
              <a:ext uri="{FF2B5EF4-FFF2-40B4-BE49-F238E27FC236}">
                <a16:creationId xmlns:a16="http://schemas.microsoft.com/office/drawing/2014/main" id="{F4D96C35-4CA2-D13E-D041-23EE8D4B7C4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083" b="3126"/>
          <a:stretch/>
        </p:blipFill>
        <p:spPr>
          <a:xfrm>
            <a:off x="7129463" y="0"/>
            <a:ext cx="5062537" cy="6873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1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B1595A09-E336-4D1B-9B3A-06A2287A54E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Segnaposto contenuto 4" descr="Immagine che contiene mappa, testo&#10;&#10;Descrizione generata automaticamente">
            <a:extLst>
              <a:ext uri="{FF2B5EF4-FFF2-40B4-BE49-F238E27FC236}">
                <a16:creationId xmlns:a16="http://schemas.microsoft.com/office/drawing/2014/main" id="{4AD08CCE-149B-A2BD-C3BD-144726DC6BE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945" b="23945"/>
          <a:stretch/>
        </p:blipFill>
        <p:spPr>
          <a:xfrm>
            <a:off x="20" y="10"/>
            <a:ext cx="12191980" cy="4558420"/>
          </a:xfrm>
          <a:custGeom>
            <a:avLst/>
            <a:gdLst/>
            <a:ahLst/>
            <a:cxnLst/>
            <a:rect l="l" t="t" r="r" b="b"/>
            <a:pathLst>
              <a:path w="12188952" h="4558430">
                <a:moveTo>
                  <a:pt x="6789701" y="4490221"/>
                </a:moveTo>
                <a:lnTo>
                  <a:pt x="6788702" y="4490299"/>
                </a:lnTo>
                <a:lnTo>
                  <a:pt x="6788476" y="4490833"/>
                </a:lnTo>
                <a:close/>
                <a:moveTo>
                  <a:pt x="0" y="0"/>
                </a:moveTo>
                <a:lnTo>
                  <a:pt x="12188952" y="0"/>
                </a:lnTo>
                <a:lnTo>
                  <a:pt x="12188952" y="3596895"/>
                </a:lnTo>
                <a:lnTo>
                  <a:pt x="12061096" y="3635026"/>
                </a:lnTo>
                <a:cubicBezTo>
                  <a:pt x="11933500" y="3671240"/>
                  <a:pt x="11805390" y="3705769"/>
                  <a:pt x="11676800" y="3738601"/>
                </a:cubicBezTo>
                <a:cubicBezTo>
                  <a:pt x="11262789" y="3846108"/>
                  <a:pt x="10845343" y="3939710"/>
                  <a:pt x="10425355" y="4022140"/>
                </a:cubicBezTo>
                <a:cubicBezTo>
                  <a:pt x="10092810" y="4087351"/>
                  <a:pt x="9759033" y="4145748"/>
                  <a:pt x="9424022" y="4197302"/>
                </a:cubicBezTo>
                <a:cubicBezTo>
                  <a:pt x="9102997" y="4246959"/>
                  <a:pt x="8781133" y="4291526"/>
                  <a:pt x="8458419" y="4331003"/>
                </a:cubicBezTo>
                <a:cubicBezTo>
                  <a:pt x="8211360" y="4361169"/>
                  <a:pt x="7963792" y="4386742"/>
                  <a:pt x="7715970" y="4410950"/>
                </a:cubicBezTo>
                <a:lnTo>
                  <a:pt x="6951716" y="4476730"/>
                </a:lnTo>
                <a:lnTo>
                  <a:pt x="6936303" y="4478801"/>
                </a:lnTo>
                <a:lnTo>
                  <a:pt x="6790448" y="4490162"/>
                </a:lnTo>
                <a:lnTo>
                  <a:pt x="6799941" y="4491982"/>
                </a:lnTo>
                <a:cubicBezTo>
                  <a:pt x="6811623" y="4492448"/>
                  <a:pt x="6823734" y="4490275"/>
                  <a:pt x="6835432" y="4490275"/>
                </a:cubicBezTo>
                <a:cubicBezTo>
                  <a:pt x="6851580" y="4490275"/>
                  <a:pt x="6867729" y="4487668"/>
                  <a:pt x="6884003" y="4487297"/>
                </a:cubicBezTo>
                <a:cubicBezTo>
                  <a:pt x="7115805" y="4481835"/>
                  <a:pt x="7347351" y="4469668"/>
                  <a:pt x="7578771" y="4454770"/>
                </a:cubicBezTo>
                <a:cubicBezTo>
                  <a:pt x="7927552" y="4432302"/>
                  <a:pt x="8276080" y="4404123"/>
                  <a:pt x="8623845" y="4367873"/>
                </a:cubicBezTo>
                <a:cubicBezTo>
                  <a:pt x="8909939" y="4338575"/>
                  <a:pt x="9195310" y="4303940"/>
                  <a:pt x="9479970" y="4263967"/>
                </a:cubicBezTo>
                <a:cubicBezTo>
                  <a:pt x="9864901" y="4209593"/>
                  <a:pt x="10248014" y="4144879"/>
                  <a:pt x="10629308" y="4069810"/>
                </a:cubicBezTo>
                <a:cubicBezTo>
                  <a:pt x="11090114" y="3978690"/>
                  <a:pt x="11546975" y="3871184"/>
                  <a:pt x="11998498" y="3743816"/>
                </a:cubicBezTo>
                <a:lnTo>
                  <a:pt x="12188952" y="3687715"/>
                </a:lnTo>
                <a:lnTo>
                  <a:pt x="12188952" y="3742439"/>
                </a:lnTo>
                <a:lnTo>
                  <a:pt x="11829257" y="3846853"/>
                </a:lnTo>
                <a:cubicBezTo>
                  <a:pt x="11534769" y="3926550"/>
                  <a:pt x="11238120" y="3997436"/>
                  <a:pt x="10939183" y="4061368"/>
                </a:cubicBezTo>
                <a:cubicBezTo>
                  <a:pt x="10622824" y="4129150"/>
                  <a:pt x="10304941" y="4189147"/>
                  <a:pt x="9985530" y="4241373"/>
                </a:cubicBezTo>
                <a:cubicBezTo>
                  <a:pt x="9720036" y="4284822"/>
                  <a:pt x="9453814" y="4323467"/>
                  <a:pt x="9186882" y="4357320"/>
                </a:cubicBezTo>
                <a:cubicBezTo>
                  <a:pt x="8984197" y="4382894"/>
                  <a:pt x="8781514" y="4406977"/>
                  <a:pt x="8578198" y="4426839"/>
                </a:cubicBezTo>
                <a:cubicBezTo>
                  <a:pt x="8340547" y="4449559"/>
                  <a:pt x="8102644" y="4471034"/>
                  <a:pt x="7864358" y="4488290"/>
                </a:cubicBezTo>
                <a:cubicBezTo>
                  <a:pt x="7554994" y="4510634"/>
                  <a:pt x="7245502" y="4528512"/>
                  <a:pt x="6935502" y="4539684"/>
                </a:cubicBezTo>
                <a:cubicBezTo>
                  <a:pt x="6782917" y="4545147"/>
                  <a:pt x="6630334" y="4548995"/>
                  <a:pt x="6477750" y="4553587"/>
                </a:cubicBezTo>
                <a:cubicBezTo>
                  <a:pt x="6439195" y="4551503"/>
                  <a:pt x="6400529" y="4553128"/>
                  <a:pt x="6362294" y="4558430"/>
                </a:cubicBezTo>
                <a:lnTo>
                  <a:pt x="6057129" y="4558430"/>
                </a:lnTo>
                <a:lnTo>
                  <a:pt x="5977784" y="4553836"/>
                </a:lnTo>
                <a:cubicBezTo>
                  <a:pt x="5740261" y="4541423"/>
                  <a:pt x="5502739" y="4527644"/>
                  <a:pt x="5265087" y="4517587"/>
                </a:cubicBezTo>
                <a:cubicBezTo>
                  <a:pt x="4958267" y="4505171"/>
                  <a:pt x="4651826" y="4484691"/>
                  <a:pt x="4346277" y="4455517"/>
                </a:cubicBezTo>
                <a:cubicBezTo>
                  <a:pt x="4021654" y="4424605"/>
                  <a:pt x="3697795" y="4389970"/>
                  <a:pt x="3373045" y="4356948"/>
                </a:cubicBezTo>
                <a:cubicBezTo>
                  <a:pt x="3035412" y="4322686"/>
                  <a:pt x="2698456" y="4283047"/>
                  <a:pt x="2362173" y="4238021"/>
                </a:cubicBezTo>
                <a:cubicBezTo>
                  <a:pt x="1984692" y="4187868"/>
                  <a:pt x="1608364" y="4130142"/>
                  <a:pt x="1233177" y="4064845"/>
                </a:cubicBezTo>
                <a:cubicBezTo>
                  <a:pt x="842181" y="3996132"/>
                  <a:pt x="453758" y="3917644"/>
                  <a:pt x="68500" y="3825138"/>
                </a:cubicBezTo>
                <a:lnTo>
                  <a:pt x="0" y="3807783"/>
                </a:lnTo>
                <a:lnTo>
                  <a:pt x="0" y="3751294"/>
                </a:lnTo>
                <a:lnTo>
                  <a:pt x="72441" y="3770071"/>
                </a:lnTo>
                <a:cubicBezTo>
                  <a:pt x="247961" y="3812249"/>
                  <a:pt x="424164" y="3851509"/>
                  <a:pt x="600716" y="3888441"/>
                </a:cubicBezTo>
                <a:cubicBezTo>
                  <a:pt x="988279" y="3969255"/>
                  <a:pt x="1378133" y="4038153"/>
                  <a:pt x="1769512" y="4098609"/>
                </a:cubicBezTo>
                <a:cubicBezTo>
                  <a:pt x="2052426" y="4142185"/>
                  <a:pt x="2335725" y="4182282"/>
                  <a:pt x="2613554" y="4215551"/>
                </a:cubicBezTo>
                <a:cubicBezTo>
                  <a:pt x="2605544" y="4218158"/>
                  <a:pt x="2594611" y="4208102"/>
                  <a:pt x="2581134" y="4205620"/>
                </a:cubicBezTo>
                <a:cubicBezTo>
                  <a:pt x="2087178" y="4113668"/>
                  <a:pt x="1597684" y="4002775"/>
                  <a:pt x="1112635" y="3872923"/>
                </a:cubicBezTo>
                <a:cubicBezTo>
                  <a:pt x="880453" y="3810852"/>
                  <a:pt x="649713" y="3744374"/>
                  <a:pt x="420412" y="3673490"/>
                </a:cubicBezTo>
                <a:lnTo>
                  <a:pt x="0" y="3534573"/>
                </a:lnTo>
                <a:close/>
              </a:path>
            </a:pathLst>
          </a:custGeom>
        </p:spPr>
      </p:pic>
      <p:sp>
        <p:nvSpPr>
          <p:cNvPr id="33" name="sketch line">
            <a:extLst>
              <a:ext uri="{FF2B5EF4-FFF2-40B4-BE49-F238E27FC236}">
                <a16:creationId xmlns:a16="http://schemas.microsoft.com/office/drawing/2014/main" id="{3540989C-C7B8-473B-BF87-6F2DA6A9000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661305" y="5468206"/>
            <a:ext cx="1371600" cy="18288"/>
          </a:xfrm>
          <a:custGeom>
            <a:avLst/>
            <a:gdLst>
              <a:gd name="connsiteX0" fmla="*/ 0 w 1371600"/>
              <a:gd name="connsiteY0" fmla="*/ 0 h 18288"/>
              <a:gd name="connsiteX1" fmla="*/ 685800 w 1371600"/>
              <a:gd name="connsiteY1" fmla="*/ 0 h 18288"/>
              <a:gd name="connsiteX2" fmla="*/ 1371600 w 1371600"/>
              <a:gd name="connsiteY2" fmla="*/ 0 h 18288"/>
              <a:gd name="connsiteX3" fmla="*/ 1371600 w 1371600"/>
              <a:gd name="connsiteY3" fmla="*/ 18288 h 18288"/>
              <a:gd name="connsiteX4" fmla="*/ 713232 w 1371600"/>
              <a:gd name="connsiteY4" fmla="*/ 18288 h 18288"/>
              <a:gd name="connsiteX5" fmla="*/ 0 w 1371600"/>
              <a:gd name="connsiteY5" fmla="*/ 18288 h 18288"/>
              <a:gd name="connsiteX6" fmla="*/ 0 w 1371600"/>
              <a:gd name="connsiteY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71600" h="18288" fill="none" extrusionOk="0">
                <a:moveTo>
                  <a:pt x="0" y="0"/>
                </a:moveTo>
                <a:cubicBezTo>
                  <a:pt x="247303" y="31625"/>
                  <a:pt x="422310" y="-25629"/>
                  <a:pt x="685800" y="0"/>
                </a:cubicBezTo>
                <a:cubicBezTo>
                  <a:pt x="949290" y="25629"/>
                  <a:pt x="1192357" y="6696"/>
                  <a:pt x="1371600" y="0"/>
                </a:cubicBezTo>
                <a:cubicBezTo>
                  <a:pt x="1371355" y="6649"/>
                  <a:pt x="1371915" y="11310"/>
                  <a:pt x="1371600" y="18288"/>
                </a:cubicBezTo>
                <a:cubicBezTo>
                  <a:pt x="1107995" y="26464"/>
                  <a:pt x="1033361" y="32942"/>
                  <a:pt x="713232" y="18288"/>
                </a:cubicBezTo>
                <a:cubicBezTo>
                  <a:pt x="393103" y="3634"/>
                  <a:pt x="289343" y="43221"/>
                  <a:pt x="0" y="18288"/>
                </a:cubicBezTo>
                <a:cubicBezTo>
                  <a:pt x="-459" y="11562"/>
                  <a:pt x="-31" y="5093"/>
                  <a:pt x="0" y="0"/>
                </a:cubicBezTo>
                <a:close/>
              </a:path>
              <a:path w="1371600" h="18288" stroke="0" extrusionOk="0">
                <a:moveTo>
                  <a:pt x="0" y="0"/>
                </a:moveTo>
                <a:cubicBezTo>
                  <a:pt x="170249" y="-24099"/>
                  <a:pt x="504634" y="14338"/>
                  <a:pt x="644652" y="0"/>
                </a:cubicBezTo>
                <a:cubicBezTo>
                  <a:pt x="784670" y="-14338"/>
                  <a:pt x="1087773" y="8679"/>
                  <a:pt x="1371600" y="0"/>
                </a:cubicBezTo>
                <a:cubicBezTo>
                  <a:pt x="1372456" y="3662"/>
                  <a:pt x="1371030" y="13946"/>
                  <a:pt x="1371600" y="18288"/>
                </a:cubicBezTo>
                <a:cubicBezTo>
                  <a:pt x="1176823" y="-1409"/>
                  <a:pt x="900830" y="9989"/>
                  <a:pt x="713232" y="18288"/>
                </a:cubicBezTo>
                <a:cubicBezTo>
                  <a:pt x="525634" y="26587"/>
                  <a:pt x="282837" y="5724"/>
                  <a:pt x="0" y="18288"/>
                </a:cubicBezTo>
                <a:cubicBezTo>
                  <a:pt x="367" y="13143"/>
                  <a:pt x="-823" y="5844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xmlns="" sd="615697673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63BE2AC-1D91-FF1A-839F-A6B261131B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4294" y="4777739"/>
            <a:ext cx="6897626" cy="1399223"/>
          </a:xfrm>
        </p:spPr>
        <p:txBody>
          <a:bodyPr anchor="ctr">
            <a:normAutofit/>
          </a:bodyPr>
          <a:lstStyle/>
          <a:p>
            <a:r>
              <a:rPr lang="en-US" sz="3200" dirty="0"/>
              <a:t>La </a:t>
            </a:r>
            <a:r>
              <a:rPr lang="en-US" sz="3200" dirty="0" err="1"/>
              <a:t>mappa</a:t>
            </a:r>
            <a:r>
              <a:rPr lang="en-US" sz="3200" dirty="0"/>
              <a:t> di Villa </a:t>
            </a:r>
            <a:r>
              <a:rPr lang="en-US" sz="3200" dirty="0" err="1"/>
              <a:t>Torlonia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68560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8AA234E-5E67-1A97-8B99-77D703A28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Segnaposto contenuto 4" descr="Immagine che contiene testo, calligrafia, lettera, Viso umano&#10;&#10;Descrizione generata automaticamente">
            <a:extLst>
              <a:ext uri="{FF2B5EF4-FFF2-40B4-BE49-F238E27FC236}">
                <a16:creationId xmlns:a16="http://schemas.microsoft.com/office/drawing/2014/main" id="{F15F48F2-83BC-B777-92A9-D16FFB5D20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283" t="1706" r="2022" b="2774"/>
          <a:stretch/>
        </p:blipFill>
        <p:spPr>
          <a:xfrm>
            <a:off x="116378" y="294783"/>
            <a:ext cx="8773752" cy="6198092"/>
          </a:xfrm>
        </p:spPr>
      </p:pic>
      <p:pic>
        <p:nvPicPr>
          <p:cNvPr id="7" name="Immagine 6" descr="Immagine che contiene testo, lettera, carta, Prodotto di carta&#10;&#10;Descrizione generata automaticamente">
            <a:extLst>
              <a:ext uri="{FF2B5EF4-FFF2-40B4-BE49-F238E27FC236}">
                <a16:creationId xmlns:a16="http://schemas.microsoft.com/office/drawing/2014/main" id="{0BD4A75D-DAF8-164E-315D-BA93C02A964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120" t="18610" r="31285" b="30584"/>
          <a:stretch/>
        </p:blipFill>
        <p:spPr>
          <a:xfrm>
            <a:off x="8686019" y="747510"/>
            <a:ext cx="3505981" cy="3608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147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ED9E40C-A3E1-EFA0-A004-91A867C79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Segnaposto contenuto 4" descr="Immagine che contiene disegno, Arte bambini, dipinto, schizzo&#10;&#10;Descrizione generata automaticamente">
            <a:extLst>
              <a:ext uri="{FF2B5EF4-FFF2-40B4-BE49-F238E27FC236}">
                <a16:creationId xmlns:a16="http://schemas.microsoft.com/office/drawing/2014/main" id="{2ECEE4D9-157C-DB3F-5E81-AE3D37BB0C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97818" y="540940"/>
            <a:ext cx="8796363" cy="5776119"/>
          </a:xfrm>
        </p:spPr>
      </p:pic>
    </p:spTree>
    <p:extLst>
      <p:ext uri="{BB962C8B-B14F-4D97-AF65-F5344CB8AC3E}">
        <p14:creationId xmlns:p14="http://schemas.microsoft.com/office/powerpoint/2010/main" val="247024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66F32B-C760-2673-04DC-23833196D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Segnaposto contenuto 4" descr="Immagine che contiene Carta fotografica, Prodotto di carta, schizzo, portafotografie&#10;&#10;Descrizione generata automaticamente">
            <a:extLst>
              <a:ext uri="{FF2B5EF4-FFF2-40B4-BE49-F238E27FC236}">
                <a16:creationId xmlns:a16="http://schemas.microsoft.com/office/drawing/2014/main" id="{9E2F3537-3789-9E15-D21E-1BF1C694311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1250" t="20759" r="29212" b="14556"/>
          <a:stretch/>
        </p:blipFill>
        <p:spPr>
          <a:xfrm>
            <a:off x="1838324" y="227472"/>
            <a:ext cx="8515351" cy="6630528"/>
          </a:xfrm>
        </p:spPr>
      </p:pic>
    </p:spTree>
    <p:extLst>
      <p:ext uri="{BB962C8B-B14F-4D97-AF65-F5344CB8AC3E}">
        <p14:creationId xmlns:p14="http://schemas.microsoft.com/office/powerpoint/2010/main" val="37884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4E7E1DE-C4FD-7284-4669-16A9E3A9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Segnaposto contenuto 4" descr="Immagine che contiene testo, lettera, calligrafia, documento&#10;&#10;Descrizione generata automaticamente">
            <a:extLst>
              <a:ext uri="{FF2B5EF4-FFF2-40B4-BE49-F238E27FC236}">
                <a16:creationId xmlns:a16="http://schemas.microsoft.com/office/drawing/2014/main" id="{E478ED90-8FF3-9513-0997-3FAC873868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396" t="1714" r="2179" b="3394"/>
          <a:stretch/>
        </p:blipFill>
        <p:spPr>
          <a:xfrm>
            <a:off x="1322541" y="0"/>
            <a:ext cx="9546917" cy="6729413"/>
          </a:xfrm>
        </p:spPr>
      </p:pic>
    </p:spTree>
    <p:extLst>
      <p:ext uri="{BB962C8B-B14F-4D97-AF65-F5344CB8AC3E}">
        <p14:creationId xmlns:p14="http://schemas.microsoft.com/office/powerpoint/2010/main" val="1975444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346A41F-69B0-7353-6868-E2AF3CE25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Segnaposto contenuto 4" descr="Immagine che contiene cielo, edificio, casa, testo&#10;&#10;Descrizione generata automaticamente">
            <a:extLst>
              <a:ext uri="{FF2B5EF4-FFF2-40B4-BE49-F238E27FC236}">
                <a16:creationId xmlns:a16="http://schemas.microsoft.com/office/drawing/2014/main" id="{C0291064-BACB-83E5-0F3A-43C2B5CD53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1223" b="1751"/>
          <a:stretch/>
        </p:blipFill>
        <p:spPr>
          <a:xfrm>
            <a:off x="1516755" y="153987"/>
            <a:ext cx="9142166" cy="6546851"/>
          </a:xfrm>
        </p:spPr>
      </p:pic>
    </p:spTree>
    <p:extLst>
      <p:ext uri="{BB962C8B-B14F-4D97-AF65-F5344CB8AC3E}">
        <p14:creationId xmlns:p14="http://schemas.microsoft.com/office/powerpoint/2010/main" val="3669836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70926E7-115E-0BFC-8B42-BF7A0650B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Segnaposto contenuto 4" descr="Immagine che contiene testo, arte, lettera, calligrafia&#10;&#10;Descrizione generata automaticamente">
            <a:extLst>
              <a:ext uri="{FF2B5EF4-FFF2-40B4-BE49-F238E27FC236}">
                <a16:creationId xmlns:a16="http://schemas.microsoft.com/office/drawing/2014/main" id="{44AC1338-0862-90C2-941C-7859DD8362A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525" r="3735" b="2080"/>
          <a:stretch/>
        </p:blipFill>
        <p:spPr>
          <a:xfrm>
            <a:off x="1557337" y="0"/>
            <a:ext cx="9198510" cy="6858000"/>
          </a:xfrm>
        </p:spPr>
      </p:pic>
    </p:spTree>
    <p:extLst>
      <p:ext uri="{BB962C8B-B14F-4D97-AF65-F5344CB8AC3E}">
        <p14:creationId xmlns:p14="http://schemas.microsoft.com/office/powerpoint/2010/main" val="2054915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7</TotalTime>
  <Words>27</Words>
  <Application>Microsoft Office PowerPoint</Application>
  <PresentationFormat>Widescreen</PresentationFormat>
  <Paragraphs>5</Paragraphs>
  <Slides>16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21" baseType="lpstr">
      <vt:lpstr>Arial</vt:lpstr>
      <vt:lpstr>Calibri</vt:lpstr>
      <vt:lpstr>Calibri Light</vt:lpstr>
      <vt:lpstr>Tema di Office</vt:lpstr>
      <vt:lpstr>Diapositiva think-cell</vt:lpstr>
      <vt:lpstr>IIIB  IC Settembrini </vt:lpstr>
      <vt:lpstr>1. La Casina delle Civett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 Casina delle Civette</dc:title>
  <dc:creator>Puglielli Davide (HLD AFC)</dc:creator>
  <cp:lastModifiedBy>Utente</cp:lastModifiedBy>
  <cp:revision>5</cp:revision>
  <dcterms:created xsi:type="dcterms:W3CDTF">2023-06-11T08:45:57Z</dcterms:created>
  <dcterms:modified xsi:type="dcterms:W3CDTF">2023-06-23T09:0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97ad33d-ed35-43c0-b526-22bc83c17deb_Enabled">
    <vt:lpwstr>true</vt:lpwstr>
  </property>
  <property fmtid="{D5CDD505-2E9C-101B-9397-08002B2CF9AE}" pid="3" name="MSIP_Label_797ad33d-ed35-43c0-b526-22bc83c17deb_SetDate">
    <vt:lpwstr>2023-06-11T16:22:02Z</vt:lpwstr>
  </property>
  <property fmtid="{D5CDD505-2E9C-101B-9397-08002B2CF9AE}" pid="4" name="MSIP_Label_797ad33d-ed35-43c0-b526-22bc83c17deb_Method">
    <vt:lpwstr>Standard</vt:lpwstr>
  </property>
  <property fmtid="{D5CDD505-2E9C-101B-9397-08002B2CF9AE}" pid="5" name="MSIP_Label_797ad33d-ed35-43c0-b526-22bc83c17deb_Name">
    <vt:lpwstr>797ad33d-ed35-43c0-b526-22bc83c17deb</vt:lpwstr>
  </property>
  <property fmtid="{D5CDD505-2E9C-101B-9397-08002B2CF9AE}" pid="6" name="MSIP_Label_797ad33d-ed35-43c0-b526-22bc83c17deb_SiteId">
    <vt:lpwstr>d539d4bf-5610-471a-afc2-1c76685cfefa</vt:lpwstr>
  </property>
  <property fmtid="{D5CDD505-2E9C-101B-9397-08002B2CF9AE}" pid="7" name="MSIP_Label_797ad33d-ed35-43c0-b526-22bc83c17deb_ActionId">
    <vt:lpwstr>c60a149b-223d-44f8-91c6-c0ee9939c8d8</vt:lpwstr>
  </property>
  <property fmtid="{D5CDD505-2E9C-101B-9397-08002B2CF9AE}" pid="8" name="MSIP_Label_797ad33d-ed35-43c0-b526-22bc83c17deb_ContentBits">
    <vt:lpwstr>1</vt:lpwstr>
  </property>
  <property fmtid="{D5CDD505-2E9C-101B-9397-08002B2CF9AE}" pid="9" name="ClassificationContentMarkingHeaderLocations">
    <vt:lpwstr>Tema di Office:10</vt:lpwstr>
  </property>
  <property fmtid="{D5CDD505-2E9C-101B-9397-08002B2CF9AE}" pid="10" name="ClassificationContentMarkingHeaderText">
    <vt:lpwstr>INTERNAL</vt:lpwstr>
  </property>
</Properties>
</file>